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69EEF-C955-6472-666C-625D7B4A3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15FBA3-9A46-322E-DD84-CE6E32EFF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42CD81-0D4A-19CE-0BDE-9A1344F93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Factors</a:t>
            </a:r>
          </a:p>
        </p:txBody>
      </p:sp>
      <p:sp>
        <p:nvSpPr>
          <p:cNvPr id="2" name="Pentagon 12">
            <a:extLst>
              <a:ext uri="{FF2B5EF4-FFF2-40B4-BE49-F238E27FC236}">
                <a16:creationId xmlns:a16="http://schemas.microsoft.com/office/drawing/2014/main" id="{A09016D1-B339-C129-2629-843D7F395444}"/>
              </a:ext>
            </a:extLst>
          </p:cNvPr>
          <p:cNvSpPr/>
          <p:nvPr/>
        </p:nvSpPr>
        <p:spPr>
          <a:xfrm rot="5400000">
            <a:off x="27159" y="2003146"/>
            <a:ext cx="2888340" cy="1926654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D64580-6009-1129-CC91-E8DF33764E27}"/>
              </a:ext>
            </a:extLst>
          </p:cNvPr>
          <p:cNvSpPr/>
          <p:nvPr/>
        </p:nvSpPr>
        <p:spPr>
          <a:xfrm>
            <a:off x="391945" y="1830792"/>
            <a:ext cx="2158768" cy="78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2">
                    <a:lumMod val="10000"/>
                  </a:schemeClr>
                </a:solidFill>
              </a:rPr>
              <a:t>01</a:t>
            </a:r>
          </a:p>
        </p:txBody>
      </p:sp>
      <p:sp>
        <p:nvSpPr>
          <p:cNvPr id="6" name="Pentagon 16">
            <a:extLst>
              <a:ext uri="{FF2B5EF4-FFF2-40B4-BE49-F238E27FC236}">
                <a16:creationId xmlns:a16="http://schemas.microsoft.com/office/drawing/2014/main" id="{837111DE-C915-5904-8B60-FE73C8F316A9}"/>
              </a:ext>
            </a:extLst>
          </p:cNvPr>
          <p:cNvSpPr/>
          <p:nvPr/>
        </p:nvSpPr>
        <p:spPr>
          <a:xfrm rot="5400000">
            <a:off x="2331055" y="2003146"/>
            <a:ext cx="2888340" cy="192665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5F252F-3785-182F-666C-44AD0B88B14A}"/>
              </a:ext>
            </a:extLst>
          </p:cNvPr>
          <p:cNvSpPr/>
          <p:nvPr/>
        </p:nvSpPr>
        <p:spPr>
          <a:xfrm>
            <a:off x="2695841" y="1830792"/>
            <a:ext cx="2158768" cy="78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accent2">
                    <a:lumMod val="75000"/>
                  </a:schemeClr>
                </a:solidFill>
              </a:rPr>
              <a:t>02</a:t>
            </a:r>
          </a:p>
        </p:txBody>
      </p:sp>
      <p:sp>
        <p:nvSpPr>
          <p:cNvPr id="8" name="Pentagon 19">
            <a:extLst>
              <a:ext uri="{FF2B5EF4-FFF2-40B4-BE49-F238E27FC236}">
                <a16:creationId xmlns:a16="http://schemas.microsoft.com/office/drawing/2014/main" id="{9B5CCE8C-CBEE-2BAA-F4A1-9C5F45D54DF4}"/>
              </a:ext>
            </a:extLst>
          </p:cNvPr>
          <p:cNvSpPr/>
          <p:nvPr/>
        </p:nvSpPr>
        <p:spPr>
          <a:xfrm rot="5400000">
            <a:off x="4634951" y="2003146"/>
            <a:ext cx="2888340" cy="1926654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278878-C40F-D16C-FE01-DDE606590F1B}"/>
              </a:ext>
            </a:extLst>
          </p:cNvPr>
          <p:cNvSpPr/>
          <p:nvPr/>
        </p:nvSpPr>
        <p:spPr>
          <a:xfrm>
            <a:off x="5016616" y="1830792"/>
            <a:ext cx="2158768" cy="78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accent3">
                    <a:lumMod val="75000"/>
                  </a:schemeClr>
                </a:solidFill>
              </a:rPr>
              <a:t>03</a:t>
            </a:r>
          </a:p>
        </p:txBody>
      </p:sp>
      <p:sp>
        <p:nvSpPr>
          <p:cNvPr id="10" name="Pentagon 22">
            <a:extLst>
              <a:ext uri="{FF2B5EF4-FFF2-40B4-BE49-F238E27FC236}">
                <a16:creationId xmlns:a16="http://schemas.microsoft.com/office/drawing/2014/main" id="{23811C75-3B44-58CE-E69A-7EE559275927}"/>
              </a:ext>
            </a:extLst>
          </p:cNvPr>
          <p:cNvSpPr/>
          <p:nvPr/>
        </p:nvSpPr>
        <p:spPr>
          <a:xfrm rot="5400000">
            <a:off x="6938847" y="2003146"/>
            <a:ext cx="2888340" cy="192665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CE5A60-5926-B81B-2655-5373976E391E}"/>
              </a:ext>
            </a:extLst>
          </p:cNvPr>
          <p:cNvSpPr/>
          <p:nvPr/>
        </p:nvSpPr>
        <p:spPr>
          <a:xfrm>
            <a:off x="7303633" y="1830792"/>
            <a:ext cx="2158768" cy="78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accent4">
                    <a:lumMod val="75000"/>
                  </a:schemeClr>
                </a:solidFill>
              </a:rPr>
              <a:t>04</a:t>
            </a:r>
          </a:p>
        </p:txBody>
      </p:sp>
      <p:sp>
        <p:nvSpPr>
          <p:cNvPr id="12" name="Pentagon 25">
            <a:extLst>
              <a:ext uri="{FF2B5EF4-FFF2-40B4-BE49-F238E27FC236}">
                <a16:creationId xmlns:a16="http://schemas.microsoft.com/office/drawing/2014/main" id="{E25BA941-715B-B62D-397F-3E5E86E35A3D}"/>
              </a:ext>
            </a:extLst>
          </p:cNvPr>
          <p:cNvSpPr/>
          <p:nvPr/>
        </p:nvSpPr>
        <p:spPr>
          <a:xfrm rot="5400000">
            <a:off x="9242744" y="2003146"/>
            <a:ext cx="2888340" cy="1926654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7E2F37-76EE-6102-35E6-13D958D90470}"/>
              </a:ext>
            </a:extLst>
          </p:cNvPr>
          <p:cNvSpPr/>
          <p:nvPr/>
        </p:nvSpPr>
        <p:spPr>
          <a:xfrm>
            <a:off x="9607530" y="1830792"/>
            <a:ext cx="2158768" cy="78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accent5">
                    <a:lumMod val="75000"/>
                  </a:schemeClr>
                </a:solidFill>
              </a:rPr>
              <a:t>05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806B1F-E79B-FF85-6291-91FEF086BF65}"/>
              </a:ext>
            </a:extLst>
          </p:cNvPr>
          <p:cNvGrpSpPr/>
          <p:nvPr/>
        </p:nvGrpSpPr>
        <p:grpSpPr>
          <a:xfrm>
            <a:off x="391944" y="2616363"/>
            <a:ext cx="2158768" cy="124639"/>
            <a:chOff x="391944" y="3179782"/>
            <a:chExt cx="2158768" cy="124639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65084EF7-0135-D40B-4280-CD8F366EEA8B}"/>
                </a:ext>
              </a:extLst>
            </p:cNvPr>
            <p:cNvSpPr/>
            <p:nvPr/>
          </p:nvSpPr>
          <p:spPr>
            <a:xfrm flipH="1" flipV="1">
              <a:off x="391944" y="3179782"/>
              <a:ext cx="116057" cy="124639"/>
            </a:xfrm>
            <a:prstGeom prst="rtTriangl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6A27535A-35C4-8EB6-AE29-586A8F4727C9}"/>
                </a:ext>
              </a:extLst>
            </p:cNvPr>
            <p:cNvSpPr/>
            <p:nvPr/>
          </p:nvSpPr>
          <p:spPr>
            <a:xfrm flipV="1">
              <a:off x="2434655" y="3179782"/>
              <a:ext cx="116057" cy="124639"/>
            </a:xfrm>
            <a:prstGeom prst="rtTriangl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327388F-5E86-F5C0-AB63-6D550C7501D2}"/>
              </a:ext>
            </a:extLst>
          </p:cNvPr>
          <p:cNvGrpSpPr/>
          <p:nvPr/>
        </p:nvGrpSpPr>
        <p:grpSpPr>
          <a:xfrm>
            <a:off x="2695840" y="2616363"/>
            <a:ext cx="2158768" cy="124639"/>
            <a:chOff x="391944" y="3179782"/>
            <a:chExt cx="2158768" cy="124639"/>
          </a:xfrm>
          <a:solidFill>
            <a:schemeClr val="accent2">
              <a:lumMod val="50000"/>
            </a:schemeClr>
          </a:solidFill>
        </p:grpSpPr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C99B193D-9189-7EDE-837A-64F142011593}"/>
                </a:ext>
              </a:extLst>
            </p:cNvPr>
            <p:cNvSpPr/>
            <p:nvPr/>
          </p:nvSpPr>
          <p:spPr>
            <a:xfrm flipH="1" flipV="1">
              <a:off x="391944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>
              <a:extLst>
                <a:ext uri="{FF2B5EF4-FFF2-40B4-BE49-F238E27FC236}">
                  <a16:creationId xmlns:a16="http://schemas.microsoft.com/office/drawing/2014/main" id="{2335F24C-D65B-E337-4D2C-CC23E93098C3}"/>
                </a:ext>
              </a:extLst>
            </p:cNvPr>
            <p:cNvSpPr/>
            <p:nvPr/>
          </p:nvSpPr>
          <p:spPr>
            <a:xfrm flipV="1">
              <a:off x="2434655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2920EB2-299E-B0A3-FECA-E0429DF764AB}"/>
              </a:ext>
            </a:extLst>
          </p:cNvPr>
          <p:cNvGrpSpPr/>
          <p:nvPr/>
        </p:nvGrpSpPr>
        <p:grpSpPr>
          <a:xfrm>
            <a:off x="4999736" y="2616363"/>
            <a:ext cx="2158768" cy="124639"/>
            <a:chOff x="391944" y="3179782"/>
            <a:chExt cx="2158768" cy="124639"/>
          </a:xfrm>
          <a:solidFill>
            <a:schemeClr val="accent3">
              <a:lumMod val="50000"/>
            </a:schemeClr>
          </a:solidFill>
        </p:grpSpPr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62AEA366-69AB-F4CB-1A9B-19456FA242C0}"/>
                </a:ext>
              </a:extLst>
            </p:cNvPr>
            <p:cNvSpPr/>
            <p:nvPr/>
          </p:nvSpPr>
          <p:spPr>
            <a:xfrm flipH="1" flipV="1">
              <a:off x="391944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CEF70E28-D1AA-6512-E1DD-D78B2D7E7CB9}"/>
                </a:ext>
              </a:extLst>
            </p:cNvPr>
            <p:cNvSpPr/>
            <p:nvPr/>
          </p:nvSpPr>
          <p:spPr>
            <a:xfrm flipV="1">
              <a:off x="2434655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D67E49-FBF1-CB57-DBB3-2C8F54D8F6B7}"/>
              </a:ext>
            </a:extLst>
          </p:cNvPr>
          <p:cNvGrpSpPr/>
          <p:nvPr/>
        </p:nvGrpSpPr>
        <p:grpSpPr>
          <a:xfrm>
            <a:off x="7303633" y="2616363"/>
            <a:ext cx="2158768" cy="124639"/>
            <a:chOff x="391944" y="3179782"/>
            <a:chExt cx="2158768" cy="124639"/>
          </a:xfrm>
          <a:solidFill>
            <a:schemeClr val="accent4">
              <a:lumMod val="50000"/>
            </a:schemeClr>
          </a:solidFill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0E527EE-98E8-81CA-2E7F-DA33B5DE94F9}"/>
                </a:ext>
              </a:extLst>
            </p:cNvPr>
            <p:cNvSpPr/>
            <p:nvPr/>
          </p:nvSpPr>
          <p:spPr>
            <a:xfrm flipH="1" flipV="1">
              <a:off x="391944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ight Triangle 24">
              <a:extLst>
                <a:ext uri="{FF2B5EF4-FFF2-40B4-BE49-F238E27FC236}">
                  <a16:creationId xmlns:a16="http://schemas.microsoft.com/office/drawing/2014/main" id="{5795261F-FE0E-C3CB-4051-6EC1199A9558}"/>
                </a:ext>
              </a:extLst>
            </p:cNvPr>
            <p:cNvSpPr/>
            <p:nvPr/>
          </p:nvSpPr>
          <p:spPr>
            <a:xfrm flipV="1">
              <a:off x="2434655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E35B38D-E523-649A-6A59-4EEBF7C32293}"/>
              </a:ext>
            </a:extLst>
          </p:cNvPr>
          <p:cNvGrpSpPr/>
          <p:nvPr/>
        </p:nvGrpSpPr>
        <p:grpSpPr>
          <a:xfrm>
            <a:off x="9607530" y="2616363"/>
            <a:ext cx="2158768" cy="124639"/>
            <a:chOff x="391944" y="3179782"/>
            <a:chExt cx="2158768" cy="124639"/>
          </a:xfrm>
          <a:solidFill>
            <a:schemeClr val="accent5">
              <a:lumMod val="50000"/>
            </a:schemeClr>
          </a:solidFill>
        </p:grpSpPr>
        <p:sp>
          <p:nvSpPr>
            <p:cNvPr id="27" name="Right Triangle 26">
              <a:extLst>
                <a:ext uri="{FF2B5EF4-FFF2-40B4-BE49-F238E27FC236}">
                  <a16:creationId xmlns:a16="http://schemas.microsoft.com/office/drawing/2014/main" id="{17E238CC-6DAE-C966-BDAE-670A3DF68A0D}"/>
                </a:ext>
              </a:extLst>
            </p:cNvPr>
            <p:cNvSpPr/>
            <p:nvPr/>
          </p:nvSpPr>
          <p:spPr>
            <a:xfrm flipH="1" flipV="1">
              <a:off x="391944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ight Triangle 27">
              <a:extLst>
                <a:ext uri="{FF2B5EF4-FFF2-40B4-BE49-F238E27FC236}">
                  <a16:creationId xmlns:a16="http://schemas.microsoft.com/office/drawing/2014/main" id="{412F88FD-6E97-DA6D-0902-0CC610D17A3A}"/>
                </a:ext>
              </a:extLst>
            </p:cNvPr>
            <p:cNvSpPr/>
            <p:nvPr/>
          </p:nvSpPr>
          <p:spPr>
            <a:xfrm flipV="1">
              <a:off x="2434655" y="3179782"/>
              <a:ext cx="116057" cy="124639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19F11297-57A4-00BE-A96F-AD29473D8A8E}"/>
              </a:ext>
            </a:extLst>
          </p:cNvPr>
          <p:cNvSpPr txBox="1"/>
          <p:nvPr/>
        </p:nvSpPr>
        <p:spPr>
          <a:xfrm>
            <a:off x="508001" y="4454828"/>
            <a:ext cx="1926654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dirty="0"/>
              <a:t>Insert 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B206395-9A31-A129-A472-A7C1753BB714}"/>
              </a:ext>
            </a:extLst>
          </p:cNvPr>
          <p:cNvSpPr txBox="1"/>
          <p:nvPr/>
        </p:nvSpPr>
        <p:spPr>
          <a:xfrm>
            <a:off x="513114" y="4913984"/>
            <a:ext cx="1921541" cy="64633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323178-7341-AB6D-D33D-B19C8729BB84}"/>
              </a:ext>
            </a:extLst>
          </p:cNvPr>
          <p:cNvSpPr txBox="1"/>
          <p:nvPr/>
        </p:nvSpPr>
        <p:spPr>
          <a:xfrm>
            <a:off x="2811897" y="4454828"/>
            <a:ext cx="1926654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dirty="0"/>
              <a:t>Insert tex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102794-7C1C-7409-191A-32B1F43B3577}"/>
              </a:ext>
            </a:extLst>
          </p:cNvPr>
          <p:cNvSpPr txBox="1"/>
          <p:nvPr/>
        </p:nvSpPr>
        <p:spPr>
          <a:xfrm>
            <a:off x="2817010" y="4913984"/>
            <a:ext cx="1921541" cy="64633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0ABB6DA-B1A6-16BA-0E4E-330CC01EF710}"/>
              </a:ext>
            </a:extLst>
          </p:cNvPr>
          <p:cNvSpPr txBox="1"/>
          <p:nvPr/>
        </p:nvSpPr>
        <p:spPr>
          <a:xfrm>
            <a:off x="5115794" y="4454828"/>
            <a:ext cx="1926654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dirty="0"/>
              <a:t>Insert tex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6C0177-A3D1-014B-0EE7-3426D3875557}"/>
              </a:ext>
            </a:extLst>
          </p:cNvPr>
          <p:cNvSpPr txBox="1"/>
          <p:nvPr/>
        </p:nvSpPr>
        <p:spPr>
          <a:xfrm>
            <a:off x="5120907" y="4913984"/>
            <a:ext cx="1921541" cy="64633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4B1432-03D2-00AE-39E8-E8F786A8AA59}"/>
              </a:ext>
            </a:extLst>
          </p:cNvPr>
          <p:cNvSpPr txBox="1"/>
          <p:nvPr/>
        </p:nvSpPr>
        <p:spPr>
          <a:xfrm>
            <a:off x="7419691" y="4454828"/>
            <a:ext cx="1926654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dirty="0"/>
              <a:t>Insert tex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BA34EB-01AC-A20B-4A52-FAD23D79FE05}"/>
              </a:ext>
            </a:extLst>
          </p:cNvPr>
          <p:cNvSpPr txBox="1"/>
          <p:nvPr/>
        </p:nvSpPr>
        <p:spPr>
          <a:xfrm>
            <a:off x="7424804" y="4913984"/>
            <a:ext cx="1921541" cy="64633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459F07-91E7-D6DE-96BE-61D14651B448}"/>
              </a:ext>
            </a:extLst>
          </p:cNvPr>
          <p:cNvSpPr txBox="1"/>
          <p:nvPr/>
        </p:nvSpPr>
        <p:spPr>
          <a:xfrm>
            <a:off x="9723587" y="4454828"/>
            <a:ext cx="1926654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dirty="0"/>
              <a:t>Insert tex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F076EA0-2F57-6E42-0783-F3C059B28EAD}"/>
              </a:ext>
            </a:extLst>
          </p:cNvPr>
          <p:cNvSpPr txBox="1"/>
          <p:nvPr/>
        </p:nvSpPr>
        <p:spPr>
          <a:xfrm>
            <a:off x="9728700" y="4913984"/>
            <a:ext cx="1921541" cy="64633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ert text Insert text</a:t>
            </a:r>
          </a:p>
        </p:txBody>
      </p:sp>
      <p:sp>
        <p:nvSpPr>
          <p:cNvPr id="49" name="Freeform 304">
            <a:extLst>
              <a:ext uri="{FF2B5EF4-FFF2-40B4-BE49-F238E27FC236}">
                <a16:creationId xmlns:a16="http://schemas.microsoft.com/office/drawing/2014/main" id="{2AB060C9-C098-1EAA-26BC-31BBDDC9B1FC}"/>
              </a:ext>
            </a:extLst>
          </p:cNvPr>
          <p:cNvSpPr/>
          <p:nvPr/>
        </p:nvSpPr>
        <p:spPr>
          <a:xfrm>
            <a:off x="1218913" y="2924428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0" name="Freeform 304">
            <a:extLst>
              <a:ext uri="{FF2B5EF4-FFF2-40B4-BE49-F238E27FC236}">
                <a16:creationId xmlns:a16="http://schemas.microsoft.com/office/drawing/2014/main" id="{51D56BAA-F2B0-CFF0-F8D8-C3297FB0BF39}"/>
              </a:ext>
            </a:extLst>
          </p:cNvPr>
          <p:cNvSpPr/>
          <p:nvPr/>
        </p:nvSpPr>
        <p:spPr>
          <a:xfrm>
            <a:off x="3522809" y="2924428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1" name="Freeform 304">
            <a:extLst>
              <a:ext uri="{FF2B5EF4-FFF2-40B4-BE49-F238E27FC236}">
                <a16:creationId xmlns:a16="http://schemas.microsoft.com/office/drawing/2014/main" id="{C857EE3D-7E66-B367-9EEF-EA237032007E}"/>
              </a:ext>
            </a:extLst>
          </p:cNvPr>
          <p:cNvSpPr/>
          <p:nvPr/>
        </p:nvSpPr>
        <p:spPr>
          <a:xfrm>
            <a:off x="5826706" y="2924428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2" name="Freeform 304">
            <a:extLst>
              <a:ext uri="{FF2B5EF4-FFF2-40B4-BE49-F238E27FC236}">
                <a16:creationId xmlns:a16="http://schemas.microsoft.com/office/drawing/2014/main" id="{3EAC1189-4089-6C6F-0E3D-4850EA08C597}"/>
              </a:ext>
            </a:extLst>
          </p:cNvPr>
          <p:cNvSpPr/>
          <p:nvPr/>
        </p:nvSpPr>
        <p:spPr>
          <a:xfrm>
            <a:off x="8130602" y="2924428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5" name="Freeform 304">
            <a:extLst>
              <a:ext uri="{FF2B5EF4-FFF2-40B4-BE49-F238E27FC236}">
                <a16:creationId xmlns:a16="http://schemas.microsoft.com/office/drawing/2014/main" id="{D8F46AA3-597C-EB97-091A-E8F1E66608E5}"/>
              </a:ext>
            </a:extLst>
          </p:cNvPr>
          <p:cNvSpPr/>
          <p:nvPr/>
        </p:nvSpPr>
        <p:spPr>
          <a:xfrm>
            <a:off x="10468257" y="2924428"/>
            <a:ext cx="504830" cy="504572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185084" y="0"/>
                </a:moveTo>
                <a:lnTo>
                  <a:pt x="247624" y="0"/>
                </a:lnTo>
                <a:cubicBezTo>
                  <a:pt x="250253" y="0"/>
                  <a:pt x="252554" y="798"/>
                  <a:pt x="254525" y="2394"/>
                </a:cubicBezTo>
                <a:cubicBezTo>
                  <a:pt x="256498" y="3991"/>
                  <a:pt x="257578" y="6010"/>
                  <a:pt x="257765" y="8451"/>
                </a:cubicBezTo>
                <a:lnTo>
                  <a:pt x="265653" y="60286"/>
                </a:lnTo>
                <a:cubicBezTo>
                  <a:pt x="274855" y="63291"/>
                  <a:pt x="283306" y="66765"/>
                  <a:pt x="291006" y="70709"/>
                </a:cubicBezTo>
                <a:lnTo>
                  <a:pt x="331010" y="40566"/>
                </a:lnTo>
                <a:cubicBezTo>
                  <a:pt x="332700" y="38876"/>
                  <a:pt x="334953" y="38031"/>
                  <a:pt x="337771" y="38031"/>
                </a:cubicBezTo>
                <a:cubicBezTo>
                  <a:pt x="340212" y="38031"/>
                  <a:pt x="342560" y="38970"/>
                  <a:pt x="344814" y="40848"/>
                </a:cubicBezTo>
                <a:cubicBezTo>
                  <a:pt x="369041" y="63197"/>
                  <a:pt x="384535" y="79161"/>
                  <a:pt x="391295" y="88739"/>
                </a:cubicBezTo>
                <a:cubicBezTo>
                  <a:pt x="392610" y="90241"/>
                  <a:pt x="393268" y="92307"/>
                  <a:pt x="393268" y="94936"/>
                </a:cubicBezTo>
                <a:cubicBezTo>
                  <a:pt x="393268" y="97190"/>
                  <a:pt x="392516" y="99350"/>
                  <a:pt x="391014" y="101416"/>
                </a:cubicBezTo>
                <a:cubicBezTo>
                  <a:pt x="388197" y="105360"/>
                  <a:pt x="383408" y="111604"/>
                  <a:pt x="376647" y="120149"/>
                </a:cubicBezTo>
                <a:cubicBezTo>
                  <a:pt x="369885" y="128695"/>
                  <a:pt x="364815" y="135315"/>
                  <a:pt x="361434" y="140010"/>
                </a:cubicBezTo>
                <a:cubicBezTo>
                  <a:pt x="366317" y="149400"/>
                  <a:pt x="370168" y="158603"/>
                  <a:pt x="372985" y="167618"/>
                </a:cubicBezTo>
                <a:lnTo>
                  <a:pt x="424537" y="175506"/>
                </a:lnTo>
                <a:cubicBezTo>
                  <a:pt x="426979" y="175881"/>
                  <a:pt x="428951" y="177055"/>
                  <a:pt x="430453" y="179027"/>
                </a:cubicBezTo>
                <a:cubicBezTo>
                  <a:pt x="431956" y="180999"/>
                  <a:pt x="432707" y="183206"/>
                  <a:pt x="432707" y="185647"/>
                </a:cubicBezTo>
                <a:lnTo>
                  <a:pt x="432707" y="248187"/>
                </a:lnTo>
                <a:cubicBezTo>
                  <a:pt x="432707" y="250440"/>
                  <a:pt x="431956" y="252600"/>
                  <a:pt x="430453" y="254666"/>
                </a:cubicBezTo>
                <a:cubicBezTo>
                  <a:pt x="428951" y="256732"/>
                  <a:pt x="427072" y="257953"/>
                  <a:pt x="424819" y="258328"/>
                </a:cubicBezTo>
                <a:lnTo>
                  <a:pt x="372703" y="266216"/>
                </a:lnTo>
                <a:cubicBezTo>
                  <a:pt x="369134" y="276358"/>
                  <a:pt x="365472" y="284903"/>
                  <a:pt x="361716" y="291852"/>
                </a:cubicBezTo>
                <a:cubicBezTo>
                  <a:pt x="368289" y="301242"/>
                  <a:pt x="378337" y="314201"/>
                  <a:pt x="391859" y="330728"/>
                </a:cubicBezTo>
                <a:cubicBezTo>
                  <a:pt x="393737" y="332982"/>
                  <a:pt x="394676" y="335329"/>
                  <a:pt x="394676" y="337771"/>
                </a:cubicBezTo>
                <a:cubicBezTo>
                  <a:pt x="394676" y="340212"/>
                  <a:pt x="393832" y="342372"/>
                  <a:pt x="392140" y="344250"/>
                </a:cubicBezTo>
                <a:cubicBezTo>
                  <a:pt x="387070" y="351199"/>
                  <a:pt x="377773" y="361340"/>
                  <a:pt x="364251" y="374675"/>
                </a:cubicBezTo>
                <a:cubicBezTo>
                  <a:pt x="350729" y="388009"/>
                  <a:pt x="341903" y="394676"/>
                  <a:pt x="337771" y="394676"/>
                </a:cubicBezTo>
                <a:cubicBezTo>
                  <a:pt x="335517" y="394676"/>
                  <a:pt x="333075" y="393831"/>
                  <a:pt x="330446" y="392141"/>
                </a:cubicBezTo>
                <a:lnTo>
                  <a:pt x="291570" y="361716"/>
                </a:lnTo>
                <a:cubicBezTo>
                  <a:pt x="283306" y="366036"/>
                  <a:pt x="274762" y="369604"/>
                  <a:pt x="265934" y="372421"/>
                </a:cubicBezTo>
                <a:cubicBezTo>
                  <a:pt x="262929" y="397963"/>
                  <a:pt x="260206" y="415429"/>
                  <a:pt x="257765" y="424819"/>
                </a:cubicBezTo>
                <a:cubicBezTo>
                  <a:pt x="256450" y="430078"/>
                  <a:pt x="253070" y="432707"/>
                  <a:pt x="247624" y="432707"/>
                </a:cubicBezTo>
                <a:lnTo>
                  <a:pt x="185084" y="432707"/>
                </a:lnTo>
                <a:cubicBezTo>
                  <a:pt x="182454" y="432707"/>
                  <a:pt x="180153" y="431909"/>
                  <a:pt x="178182" y="430313"/>
                </a:cubicBezTo>
                <a:cubicBezTo>
                  <a:pt x="176210" y="428716"/>
                  <a:pt x="175130" y="426697"/>
                  <a:pt x="174942" y="424256"/>
                </a:cubicBezTo>
                <a:lnTo>
                  <a:pt x="167054" y="372421"/>
                </a:lnTo>
                <a:cubicBezTo>
                  <a:pt x="157852" y="369416"/>
                  <a:pt x="149401" y="365942"/>
                  <a:pt x="141700" y="361998"/>
                </a:cubicBezTo>
                <a:lnTo>
                  <a:pt x="101979" y="392141"/>
                </a:lnTo>
                <a:cubicBezTo>
                  <a:pt x="100101" y="393831"/>
                  <a:pt x="97753" y="394676"/>
                  <a:pt x="94936" y="394676"/>
                </a:cubicBezTo>
                <a:cubicBezTo>
                  <a:pt x="92307" y="394676"/>
                  <a:pt x="89959" y="393643"/>
                  <a:pt x="87893" y="391577"/>
                </a:cubicBezTo>
                <a:cubicBezTo>
                  <a:pt x="64230" y="370167"/>
                  <a:pt x="48735" y="354392"/>
                  <a:pt x="41411" y="344250"/>
                </a:cubicBezTo>
                <a:cubicBezTo>
                  <a:pt x="40097" y="342372"/>
                  <a:pt x="39439" y="340212"/>
                  <a:pt x="39439" y="337771"/>
                </a:cubicBezTo>
                <a:cubicBezTo>
                  <a:pt x="39439" y="335517"/>
                  <a:pt x="40191" y="333357"/>
                  <a:pt x="41694" y="331291"/>
                </a:cubicBezTo>
                <a:cubicBezTo>
                  <a:pt x="44510" y="327347"/>
                  <a:pt x="49299" y="321103"/>
                  <a:pt x="56060" y="312558"/>
                </a:cubicBezTo>
                <a:cubicBezTo>
                  <a:pt x="62821" y="304012"/>
                  <a:pt x="67892" y="297392"/>
                  <a:pt x="71273" y="292697"/>
                </a:cubicBezTo>
                <a:cubicBezTo>
                  <a:pt x="66202" y="283307"/>
                  <a:pt x="62352" y="274010"/>
                  <a:pt x="59723" y="264808"/>
                </a:cubicBezTo>
                <a:lnTo>
                  <a:pt x="8169" y="257202"/>
                </a:lnTo>
                <a:cubicBezTo>
                  <a:pt x="5728" y="256826"/>
                  <a:pt x="3756" y="255652"/>
                  <a:pt x="2254" y="253680"/>
                </a:cubicBezTo>
                <a:cubicBezTo>
                  <a:pt x="751" y="251708"/>
                  <a:pt x="0" y="249501"/>
                  <a:pt x="0" y="247060"/>
                </a:cubicBezTo>
                <a:lnTo>
                  <a:pt x="0" y="184520"/>
                </a:lnTo>
                <a:cubicBezTo>
                  <a:pt x="0" y="182267"/>
                  <a:pt x="751" y="180107"/>
                  <a:pt x="2254" y="178041"/>
                </a:cubicBezTo>
                <a:cubicBezTo>
                  <a:pt x="3756" y="175975"/>
                  <a:pt x="5540" y="174754"/>
                  <a:pt x="7606" y="174379"/>
                </a:cubicBezTo>
                <a:lnTo>
                  <a:pt x="60004" y="166491"/>
                </a:lnTo>
                <a:cubicBezTo>
                  <a:pt x="62633" y="157852"/>
                  <a:pt x="66295" y="149213"/>
                  <a:pt x="70991" y="140573"/>
                </a:cubicBezTo>
                <a:cubicBezTo>
                  <a:pt x="63478" y="129868"/>
                  <a:pt x="53431" y="116910"/>
                  <a:pt x="40848" y="101697"/>
                </a:cubicBezTo>
                <a:cubicBezTo>
                  <a:pt x="38970" y="99444"/>
                  <a:pt x="38030" y="97190"/>
                  <a:pt x="38030" y="94936"/>
                </a:cubicBezTo>
                <a:cubicBezTo>
                  <a:pt x="38030" y="93058"/>
                  <a:pt x="38876" y="90898"/>
                  <a:pt x="40567" y="88457"/>
                </a:cubicBezTo>
                <a:cubicBezTo>
                  <a:pt x="45449" y="81696"/>
                  <a:pt x="54699" y="71601"/>
                  <a:pt x="68314" y="58173"/>
                </a:cubicBezTo>
                <a:cubicBezTo>
                  <a:pt x="81931" y="44745"/>
                  <a:pt x="90805" y="38031"/>
                  <a:pt x="94936" y="38031"/>
                </a:cubicBezTo>
                <a:cubicBezTo>
                  <a:pt x="97377" y="38031"/>
                  <a:pt x="99819" y="38970"/>
                  <a:pt x="102260" y="40848"/>
                </a:cubicBezTo>
                <a:lnTo>
                  <a:pt x="141137" y="70991"/>
                </a:lnTo>
                <a:cubicBezTo>
                  <a:pt x="149401" y="66671"/>
                  <a:pt x="157945" y="63103"/>
                  <a:pt x="166773" y="60286"/>
                </a:cubicBezTo>
                <a:cubicBezTo>
                  <a:pt x="169777" y="34744"/>
                  <a:pt x="172501" y="17278"/>
                  <a:pt x="174942" y="7888"/>
                </a:cubicBezTo>
                <a:cubicBezTo>
                  <a:pt x="176257" y="2629"/>
                  <a:pt x="179637" y="0"/>
                  <a:pt x="185084" y="0"/>
                </a:cubicBezTo>
                <a:close/>
                <a:moveTo>
                  <a:pt x="216354" y="144236"/>
                </a:moveTo>
                <a:cubicBezTo>
                  <a:pt x="196446" y="144236"/>
                  <a:pt x="179449" y="151278"/>
                  <a:pt x="165364" y="165364"/>
                </a:cubicBezTo>
                <a:cubicBezTo>
                  <a:pt x="151278" y="179449"/>
                  <a:pt x="144235" y="196446"/>
                  <a:pt x="144235" y="216354"/>
                </a:cubicBezTo>
                <a:cubicBezTo>
                  <a:pt x="144235" y="236261"/>
                  <a:pt x="151278" y="253258"/>
                  <a:pt x="165364" y="267343"/>
                </a:cubicBezTo>
                <a:cubicBezTo>
                  <a:pt x="179449" y="281429"/>
                  <a:pt x="196446" y="288471"/>
                  <a:pt x="216354" y="288471"/>
                </a:cubicBezTo>
                <a:cubicBezTo>
                  <a:pt x="236261" y="288471"/>
                  <a:pt x="253258" y="281429"/>
                  <a:pt x="267343" y="267343"/>
                </a:cubicBezTo>
                <a:cubicBezTo>
                  <a:pt x="281429" y="253258"/>
                  <a:pt x="288471" y="236261"/>
                  <a:pt x="288471" y="216354"/>
                </a:cubicBezTo>
                <a:cubicBezTo>
                  <a:pt x="288471" y="196446"/>
                  <a:pt x="281429" y="179449"/>
                  <a:pt x="267343" y="165364"/>
                </a:cubicBezTo>
                <a:cubicBezTo>
                  <a:pt x="253258" y="151278"/>
                  <a:pt x="236261" y="144236"/>
                  <a:pt x="216354" y="144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310524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78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5 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63</cp:revision>
  <dcterms:created xsi:type="dcterms:W3CDTF">2021-03-31T02:49:57Z</dcterms:created>
  <dcterms:modified xsi:type="dcterms:W3CDTF">2025-10-16T11:40:45Z</dcterms:modified>
  <cp:category/>
</cp:coreProperties>
</file>